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s/slide196.xml" ContentType="application/vnd.openxmlformats-officedocument.presentationml.slide+xml"/>
  <Override PartName="/ppt/tags/tag744.xml" ContentType="application/vnd.openxmlformats-officedocument.presentationml.tags+xml"/>
  <Override PartName="/ppt/tags/tag749.xml" ContentType="application/vnd.openxmlformats-officedocument.presentationml.tags+xml"/>
  <Override PartName="/ppt/tags/tag757.xml" ContentType="application/vnd.openxmlformats-officedocument.presentationml.tags+xml"/>
  <Override PartName="/ppt/tags/tag752.xml" ContentType="application/vnd.openxmlformats-officedocument.presentationml.tags+xml"/>
  <Override PartName="/ppt/notesSlides/notesSlide196.xml" ContentType="application/vnd.openxmlformats-officedocument.presentationml.notesSlide+xml"/>
  <Override PartName="/ppt/tags/tag738.xml" ContentType="application/vnd.openxmlformats-officedocument.presentationml.tags+xml"/>
  <Override PartName="/ppt/tags/tag743.xml" ContentType="application/vnd.openxmlformats-officedocument.presentationml.tags+xml"/>
  <Override PartName="/ppt/tags/tag748.xml" ContentType="application/vnd.openxmlformats-officedocument.presentationml.tags+xml"/>
  <Override PartName="/ppt/tags/tag756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733.xml" ContentType="application/vnd.openxmlformats-officedocument.presentationml.tags+xml"/>
  <Override PartName="/ppt/tags/tag747.xml" ContentType="application/vnd.openxmlformats-officedocument.presentationml.tags+xml"/>
  <Override PartName="/ppt/tags/tag751.xml" ContentType="application/vnd.openxmlformats-officedocument.presentationml.tags+xml"/>
  <Override PartName="/ppt/tags/tag760.xml" ContentType="application/vnd.openxmlformats-officedocument.presentationml.tags+xml"/>
  <Override PartName="/ppt/tags/tag737.xml" ContentType="application/vnd.openxmlformats-officedocument.presentationml.tags+xml"/>
  <Override PartName="/ppt/tags/tag742.xml" ContentType="application/vnd.openxmlformats-officedocument.presentationml.tags+xml"/>
  <Override PartName="/ppt/tags/tag755.xml" ContentType="application/vnd.openxmlformats-officedocument.presentationml.tags+xml"/>
  <Override PartName="/ppt/tags/tag763.xml" ContentType="application/vnd.openxmlformats-officedocument.presentationml.tags+xml"/>
  <Override PartName="/ppt/charts/chart25.xml" ContentType="application/vnd.openxmlformats-officedocument.drawingml.chart+xml"/>
  <Override PartName="/ppt/tags/tag736.xml" ContentType="application/vnd.openxmlformats-officedocument.presentationml.tags+xml"/>
  <Override PartName="/ppt/tags/tag746.xml" ContentType="application/vnd.openxmlformats-officedocument.presentationml.tags+xml"/>
  <Override PartName="/ppt/tags/tag754.xml" ContentType="application/vnd.openxmlformats-officedocument.presentationml.tags+xml"/>
  <Override PartName="/ppt/tags/tag759.xml" ContentType="application/vnd.openxmlformats-officedocument.presentationml.tags+xml"/>
  <Override PartName="/ppt/tags/tag741.xml" ContentType="application/vnd.openxmlformats-officedocument.presentationml.tags+xml"/>
  <Override PartName="/ppt/tags/tag750.xml" ContentType="application/vnd.openxmlformats-officedocument.presentationml.tags+xml"/>
  <Override PartName="/ppt/tags/tag762.xml" ContentType="application/vnd.openxmlformats-officedocument.presentationml.tags+xml"/>
  <Override PartName="/ppt/tags/tag735.xml" ContentType="application/vnd.openxmlformats-officedocument.presentationml.tags+xml"/>
  <Override PartName="/ppt/tags/tag740.xml" ContentType="application/vnd.openxmlformats-officedocument.presentationml.tags+xml"/>
  <Override PartName="/ppt/tags/tag745.xml" ContentType="application/vnd.openxmlformats-officedocument.presentationml.tags+xml"/>
  <Override PartName="/ppt/tags/tag753.xml" ContentType="application/vnd.openxmlformats-officedocument.presentationml.tags+xml"/>
  <Override PartName="/ppt/tags/tag758.xml" ContentType="application/vnd.openxmlformats-officedocument.presentationml.tags+xml"/>
  <Override PartName="/ppt/tags/tag761.xml" ContentType="application/vnd.openxmlformats-officedocument.presentationml.tags+xml"/>
  <Override PartName="/ppt/tags/tag739.xml" ContentType="application/vnd.openxmlformats-officedocument.presentationml.tags+xml"/>
  <Override PartName="/ppt/tags/tag734.xml" ContentType="application/vnd.openxmlformats-officedocument.presentationml.tags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5" r:id="rId199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" Target="/ppt/slides/slide196.xml" Id="rId199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5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4.xlsb" Id="rId1" /></Relationships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925112976113627E-3"/>
          <c:y val="6.8149717514124297E-2"/>
          <c:w val="0.98321497740477726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64E-4F5C-9851-A5B96A2965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64E-4F5C-9851-A5B96A2965F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4E-4F5C-9851-A5B96A2965F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64E-4F5C-9851-A5B96A2965F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4E-4F5C-9851-A5B96A2965F9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64E-4F5C-9851-A5B96A2965F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4E-4F5C-9851-A5B96A2965F9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64E-4F5C-9851-A5B96A2965F9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64E-4F5C-9851-A5B96A2965F9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4E-4F5C-9851-A5B96A2965F9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64E-4F5C-9851-A5B96A2965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4E-4F5C-9851-A5B96A2965F9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364E-4F5C-9851-A5B96A2965F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364E-4F5C-9851-A5B96A2965F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64E-4F5C-9851-A5B96A2965F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64E-4F5C-9851-A5B96A2965F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64E-4F5C-9851-A5B96A2965F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64E-4F5C-9851-A5B96A2965F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64E-4F5C-9851-A5B96A2965F9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364E-4F5C-9851-A5B96A2965F9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64E-4F5C-9851-A5B96A2965F9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4E-4F5C-9851-A5B96A2965F9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364E-4F5C-9851-A5B96A2965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364E-4F5C-9851-A5B96A296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3701520"/>
        <c:axId val="1"/>
      </c:barChart>
      <c:catAx>
        <c:axId val="313701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3701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00.vml.rels>&#65279;<?xml version="1.0" encoding="utf-8"?><Relationships xmlns="http://schemas.openxmlformats.org/package/2006/relationships"><Relationship Type="http://schemas.openxmlformats.org/officeDocument/2006/relationships/image" Target="/ppt/media/image21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6.xml.rels>&#65279;<?xml version="1.0" encoding="utf-8"?><Relationships xmlns="http://schemas.openxmlformats.org/package/2006/relationships"><Relationship Type="http://schemas.openxmlformats.org/officeDocument/2006/relationships/slide" Target="/ppt/slides/slide196.xml" Id="rId2" /><Relationship Type="http://schemas.openxmlformats.org/officeDocument/2006/relationships/notesMaster" Target="/ppt/notesMasters/notesMaster1.xml" Id="rId1" /></Relationships>
</file>

<file path=ppt/notesSlides/notesSlide1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37005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6.xml.rels>&#65279;<?xml version="1.0" encoding="utf-8"?><Relationships xmlns="http://schemas.openxmlformats.org/package/2006/relationships"><Relationship Type="http://schemas.openxmlformats.org/officeDocument/2006/relationships/tags" Target="/ppt/tags/tag744.xml" Id="rId13" /><Relationship Type="http://schemas.openxmlformats.org/officeDocument/2006/relationships/tags" Target="/ppt/tags/tag749.xml" Id="rId18" /><Relationship Type="http://schemas.openxmlformats.org/officeDocument/2006/relationships/tags" Target="/ppt/tags/tag757.xml" Id="rId26" /><Relationship Type="http://schemas.openxmlformats.org/officeDocument/2006/relationships/tags" Target="/ppt/tags/tag752.xml" Id="rId21" /><Relationship Type="http://schemas.openxmlformats.org/officeDocument/2006/relationships/notesSlide" Target="/ppt/notesSlides/notesSlide196.xml" Id="rId34" /><Relationship Type="http://schemas.openxmlformats.org/officeDocument/2006/relationships/tags" Target="/ppt/tags/tag738.xml" Id="rId7" /><Relationship Type="http://schemas.openxmlformats.org/officeDocument/2006/relationships/tags" Target="/ppt/tags/tag743.xml" Id="rId12" /><Relationship Type="http://schemas.openxmlformats.org/officeDocument/2006/relationships/tags" Target="/ppt/tags/tag748.xml" Id="rId17" /><Relationship Type="http://schemas.openxmlformats.org/officeDocument/2006/relationships/tags" Target="/ppt/tags/tag756.xml" Id="rId25" /><Relationship Type="http://schemas.openxmlformats.org/officeDocument/2006/relationships/slideLayout" Target="/ppt/slideLayouts/slideLayout5.xml" Id="rId33" /><Relationship Type="http://schemas.openxmlformats.org/officeDocument/2006/relationships/tags" Target="/ppt/tags/tag733.xml" Id="rId2" /><Relationship Type="http://schemas.openxmlformats.org/officeDocument/2006/relationships/tags" Target="/ppt/tags/tag747.xml" Id="rId16" /><Relationship Type="http://schemas.openxmlformats.org/officeDocument/2006/relationships/tags" Target="/ppt/tags/tag751.xml" Id="rId20" /><Relationship Type="http://schemas.openxmlformats.org/officeDocument/2006/relationships/tags" Target="/ppt/tags/tag760.xml" Id="rId29" /><Relationship Type="http://schemas.openxmlformats.org/officeDocument/2006/relationships/vmlDrawing" Target="/ppt/drawings/vmlDrawing200.vml" Id="rId1" /><Relationship Type="http://schemas.openxmlformats.org/officeDocument/2006/relationships/tags" Target="/ppt/tags/tag737.xml" Id="rId6" /><Relationship Type="http://schemas.openxmlformats.org/officeDocument/2006/relationships/tags" Target="/ppt/tags/tag742.xml" Id="rId11" /><Relationship Type="http://schemas.openxmlformats.org/officeDocument/2006/relationships/tags" Target="/ppt/tags/tag755.xml" Id="rId24" /><Relationship Type="http://schemas.openxmlformats.org/officeDocument/2006/relationships/tags" Target="/ppt/tags/tag763.xml" Id="rId32" /><Relationship Type="http://schemas.openxmlformats.org/officeDocument/2006/relationships/chart" Target="/ppt/charts/chart25.xml" Id="rId37" /><Relationship Type="http://schemas.openxmlformats.org/officeDocument/2006/relationships/tags" Target="/ppt/tags/tag736.xml" Id="rId5" /><Relationship Type="http://schemas.openxmlformats.org/officeDocument/2006/relationships/tags" Target="/ppt/tags/tag746.xml" Id="rId15" /><Relationship Type="http://schemas.openxmlformats.org/officeDocument/2006/relationships/tags" Target="/ppt/tags/tag754.xml" Id="rId23" /><Relationship Type="http://schemas.openxmlformats.org/officeDocument/2006/relationships/tags" Target="/ppt/tags/tag759.xml" Id="rId28" /><Relationship Type="http://schemas.openxmlformats.org/officeDocument/2006/relationships/image" Target="/ppt/media/image211.emf" Id="rId36" /><Relationship Type="http://schemas.openxmlformats.org/officeDocument/2006/relationships/tags" Target="/ppt/tags/tag741.xml" Id="rId10" /><Relationship Type="http://schemas.openxmlformats.org/officeDocument/2006/relationships/tags" Target="/ppt/tags/tag750.xml" Id="rId19" /><Relationship Type="http://schemas.openxmlformats.org/officeDocument/2006/relationships/tags" Target="/ppt/tags/tag762.xml" Id="rId31" /><Relationship Type="http://schemas.openxmlformats.org/officeDocument/2006/relationships/tags" Target="/ppt/tags/tag735.xml" Id="rId4" /><Relationship Type="http://schemas.openxmlformats.org/officeDocument/2006/relationships/tags" Target="/ppt/tags/tag740.xml" Id="rId9" /><Relationship Type="http://schemas.openxmlformats.org/officeDocument/2006/relationships/tags" Target="/ppt/tags/tag745.xml" Id="rId14" /><Relationship Type="http://schemas.openxmlformats.org/officeDocument/2006/relationships/tags" Target="/ppt/tags/tag753.xml" Id="rId22" /><Relationship Type="http://schemas.openxmlformats.org/officeDocument/2006/relationships/tags" Target="/ppt/tags/tag758.xml" Id="rId27" /><Relationship Type="http://schemas.openxmlformats.org/officeDocument/2006/relationships/tags" Target="/ppt/tags/tag761.xml" Id="rId30" /><Relationship Type="http://schemas.openxmlformats.org/officeDocument/2006/relationships/oleObject" Target="/ppt/embeddings/oleObject200.bin" Id="rId35" /><Relationship Type="http://schemas.openxmlformats.org/officeDocument/2006/relationships/tags" Target="/ppt/tags/tag739.xml" Id="rId8" /><Relationship Type="http://schemas.openxmlformats.org/officeDocument/2006/relationships/tags" Target="/ppt/tags/tag734.xml" Id="rId3" /></Relationships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008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59" name="think-cell 幻灯片" r:id="rId35" imgW="360" imgH="360" progId="TCLayout.ActiveDocument.1">
                  <p:embed/>
                </p:oleObj>
              </mc:Choice>
              <mc:Fallback>
                <p:oleObj name="think-cell 幻灯片" r:id="rId35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nnotations: Level difference arrow</a:t>
            </a:r>
          </a:p>
        </p:txBody>
      </p: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E32AF0D8-13A7-4C04-83CA-EBB67C5F22F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5592400"/>
              </p:ext>
            </p:extLst>
          </p:nvPr>
        </p:nvGraphicFramePr>
        <p:xfrm>
          <a:off x="320675" y="1258888"/>
          <a:ext cx="983615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E3D9A98-28EA-B071-6500-7C71C2FA0B5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597525" y="4816475"/>
            <a:ext cx="5159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5468224-5BCB-DDBB-4532-3E35DB1FF4C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511926" y="4816475"/>
            <a:ext cx="6651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15CB885-05CA-433D-5F1C-04352EE2E2E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597776" y="4816475"/>
            <a:ext cx="6461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9EEE8B-E0B6-3C6F-46D8-4A7AC42E89B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680450" y="4816475"/>
            <a:ext cx="1436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86335384-7B0B-3A04-489F-30A4843307D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821737" y="4103688"/>
            <a:ext cx="129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B93F838-0869-8D49-C07F-C02E85C9C0F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10074275" y="4100513"/>
            <a:ext cx="0" cy="7191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9613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29D334E-1285-48A7-969C-23CDA35E23B5}" type="datetime'''''''''''''2''''''''''0''''''''''''''''''''''''2''2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784350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19CADA-551E-4536-AE1C-AD93232037A9}" type="datetime'''''''''2''''''''0''''''''''''''2''''3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857500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ED5D5C8-FBF3-4E9E-8E87-F876B54B1A89}" type="datetime'''''''''''''''''''''''2''''0''''''2''''''''''''''4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322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B71E87D-8020-4DCA-A153-67395C1DDC61}" type="datetime'''2''02''5''''''''''''''''''''''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697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E5608F5-00AA-4FA8-A212-F62A050103A8}" type="datetime'''2''''''''''''0''''''''''2''''''6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6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088063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F12884-50BD-48BF-8451-0BB35AF2CD2F}" type="datetime'''''2''''''''0''''''''''''''''2''''''''''''''''''''''7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7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1548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E254936-7981-4AC9-9796-BD91E9D3B429}" type="datetime'''2''''''''0''''''''2''''''''8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8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231188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D88EAC4-0E03-4DE4-9D6E-9704636C042C}" type="datetime'''''''''''''''2''''''''''''''''''0''2''''''''''''''''9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9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04338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3B0F41B-F0F1-4A95-860C-ADA4A6A0B04C}" type="datetime'2''''''''''''''''''0''''''''''3''''''0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7550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C8B24-2FCA-4050-9222-07864E1FC1C0}" type="datetime'''''''''4''''''''''''''''''''0.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822451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C9FF5F-ECE4-407B-857E-440FD42955B2}" type="datetime'''''''''''''''''''4''1''.''''''''''''''''7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89250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C53A5-ABE1-4BE7-A29D-BB1851073958}" type="datetime'''''''''4''''5.''''''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9449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34482A-3593-4C9B-974F-789845E8E7D1}" type="datetime'''''''''''''''''''''''''''''''5''''3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018088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69FEE4-1B5C-4279-8654-005BE2456449}" type="datetime'''''''''''5''''''''''''''''''0''''''''''''''''''''.''''''9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094413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B326C3-E5DA-4A3E-8997-F088AC6D68EE}" type="datetime'''''''''''''''''''6''0''''''.''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16915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DB97FD-7023-417B-94AC-C278069AFD49}" type="datetime'''''''''6''''2''.''''''''8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256588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BE7745-F7E6-47E3-BE66-CB3EAC3E1DF3}" type="datetime'''''''''7''''''''''''0''''.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326563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48F98-2AC0-40A9-8B9E-6A6E071D35DA}" type="datetime'''''''''''''''''''''''7''''''6.''''''''''''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164763" y="4008438"/>
            <a:ext cx="1257300" cy="90328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tx2"/>
                </a:solidFill>
                <a:effectLst/>
              </a:rPr>
              <a:t>America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solidFill>
                  <a:schemeClr val="tx2"/>
                </a:solidFill>
              </a:rPr>
              <a:t>’26-’29</a:t>
            </a:r>
            <a:endParaRPr lang="en-US" altLang="en-US" sz="1400">
              <a:solidFill>
                <a:schemeClr val="tx2"/>
              </a:solidFill>
              <a:effectLst/>
            </a:endParaRP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965448-0FAC-41AA-868F-1DFBD1816405}" type="datetime'''''+1''1''''''''''''''''''''''''''''''''''3''''''%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13%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DDAC2256-81DC-EF3A-5F34-0BB9D3762765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331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rrows, stacked, column, columns, bar, bars, think-cell, chart, charts, graph, graph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15A5248-06CA-5684-D1FE-510E78ABB96B}"/>
              </a:ext>
            </a:extLst>
          </p:cNvPr>
          <p:cNvSpPr txBox="1">
            <a:spLocks/>
          </p:cNvSpPr>
          <p:nvPr/>
        </p:nvSpPr>
        <p:spPr>
          <a:xfrm>
            <a:off x="403730" y="886115"/>
            <a:ext cx="9588629" cy="6719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 dirty="0"/>
              <a:t>Insert a level difference arrow to show the difference between two datapoints. These arrows are anchored to value lines.</a:t>
            </a:r>
          </a:p>
          <a:p>
            <a:pPr>
              <a:defRPr/>
            </a:pPr>
            <a:r>
              <a:rPr lang="en-US" sz="1400" b="0" dirty="0"/>
              <a:t>Double-click the arrow to change its direction.</a:t>
            </a:r>
          </a:p>
          <a:p>
            <a:pPr>
              <a:defRPr/>
            </a:pPr>
            <a:r>
              <a:rPr lang="en-US" sz="1400" b="0" dirty="0"/>
              <a:t>Select the level difference label to switch between percent and absolute values.</a:t>
            </a: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8BBED08B-7E7C-DBCE-DE94-88FEC2B154AA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the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the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  <a:endParaRPr lang="en-US" sz="1200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1410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4ETkwbtyHIPy3xqd5nA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LRzb_m5MHrV46qsyaZT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fmPzHtIcE2C.Z5qCyMG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zeaWm6kDu.YdcIhEoZI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kA_4nUNsElLp2n9ySKe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CEZq9XIiozJMoxFSVP0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m6rKbtCo7Z4ys4hWviv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